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1"/>
  </p:sldMasterIdLst>
  <p:notesMasterIdLst>
    <p:notesMasterId r:id="rId3"/>
  </p:notesMasterIdLst>
  <p:sldIdLst>
    <p:sldId id="285" r:id="rId2"/>
  </p:sldIdLst>
  <p:sldSz cx="9145588" cy="6859588"/>
  <p:notesSz cx="6797675" cy="9926638"/>
  <p:defaultTextStyle>
    <a:defPPr>
      <a:defRPr lang="nb-NO"/>
    </a:defPPr>
    <a:lvl1pPr marL="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22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09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32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646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045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46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4874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28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da Waal Rømuld" initials="IWR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E00"/>
    <a:srgbClr val="F9F9F5"/>
    <a:srgbClr val="615046"/>
    <a:srgbClr val="674F44"/>
    <a:srgbClr val="D7D1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47" autoAdjust="0"/>
    <p:restoredTop sz="94007" autoAdjust="0"/>
  </p:normalViewPr>
  <p:slideViewPr>
    <p:cSldViewPr>
      <p:cViewPr varScale="1">
        <p:scale>
          <a:sx n="107" d="100"/>
          <a:sy n="107" d="100"/>
        </p:scale>
        <p:origin x="2136" y="114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6E22D-1C2F-48B3-BFD2-32181C826E78}" type="datetimeFigureOut">
              <a:rPr lang="nb-NO" smtClean="0"/>
              <a:t>14.02.2017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7745A6-98A4-4F82-97C7-8E197F979C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5655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092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1834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2744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3669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4599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5516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4643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67347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745A6-98A4-4F82-97C7-8E197F979CDE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4911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4ADC0-5615-4430-9152-0D0FA69FEB1A}" type="datetime1">
              <a:rPr lang="nb-NO" smtClean="0"/>
              <a:pPr/>
              <a:t>14.02.2017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51914" y="405204"/>
            <a:ext cx="8027988" cy="1049649"/>
          </a:xfrm>
        </p:spPr>
        <p:txBody>
          <a:bodyPr>
            <a:noAutofit/>
          </a:bodyPr>
          <a:lstStyle>
            <a:lvl1pPr>
              <a:defRPr sz="2100" b="0">
                <a:solidFill>
                  <a:srgbClr val="615046"/>
                </a:solidFill>
              </a:defRPr>
            </a:lvl1pPr>
            <a:lvl2pPr>
              <a:buNone/>
              <a:defRPr sz="2100">
                <a:solidFill>
                  <a:srgbClr val="615046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Tittel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437" y="2894400"/>
            <a:ext cx="5303531" cy="132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013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lide #1">
    <p:bg>
      <p:bgPr>
        <a:solidFill>
          <a:srgbClr val="FF6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C8C4E-CC48-4C0D-A30F-4A383939C0CD}" type="datetime1">
              <a:rPr lang="nb-NO" smtClean="0">
                <a:solidFill>
                  <a:prstClr val="white"/>
                </a:solidFill>
              </a:rPr>
              <a:pPr/>
              <a:t>14.02.2017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91A837-D30F-4B1B-A354-AC66D487F26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48" y="6279182"/>
            <a:ext cx="2042164" cy="5806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37" y="2160115"/>
            <a:ext cx="2572517" cy="257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194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lide #2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fld id="{2C7E1DF6-749B-4ECF-98E7-559345C0A5DC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rgbClr val="6150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86" y="6268275"/>
            <a:ext cx="1836424" cy="5913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37" y="2160115"/>
            <a:ext cx="2572517" cy="257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430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54F1-567D-4BE7-9C50-6275D87351F2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8194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9E975-3E31-45A1-A740-B7436667B8C4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08784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69230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432F-FE50-4DDE-B738-F3EF3F1C850D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4084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ksomhetsområde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AB11F-9898-459C-8E9F-4187048624C5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281790" y="2154707"/>
            <a:ext cx="2582323" cy="2582473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303219"/>
          <a:lstStyle>
            <a:lvl1pPr algn="ctr">
              <a:defRPr/>
            </a:lvl1pPr>
          </a:lstStyle>
          <a:p>
            <a:r>
              <a:rPr lang="nb-NO" dirty="0"/>
              <a:t>Sett inn ikon</a:t>
            </a:r>
          </a:p>
        </p:txBody>
      </p:sp>
    </p:spTree>
    <p:extLst>
      <p:ext uri="{BB962C8B-B14F-4D97-AF65-F5344CB8AC3E}">
        <p14:creationId xmlns:p14="http://schemas.microsoft.com/office/powerpoint/2010/main" val="1019590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rksomhetsområde #2">
    <p:bg>
      <p:bgPr>
        <a:solidFill>
          <a:srgbClr val="FF6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3F5C95-D29C-4ECE-B263-5D0913DE224E}" type="datetime1">
              <a:rPr lang="nb-NO" smtClean="0">
                <a:solidFill>
                  <a:prstClr val="white"/>
                </a:solidFill>
              </a:rPr>
              <a:pPr/>
              <a:t>14.02.2017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91A837-D30F-4B1B-A354-AC66D487F26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281790" y="2154707"/>
            <a:ext cx="2582323" cy="2582473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303219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Sett inn ikon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48" y="6279182"/>
            <a:ext cx="2042164" cy="58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90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- Stor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35" y="1292716"/>
            <a:ext cx="8028707" cy="48307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8135E-0EAF-41FA-9817-6CE62A9B5ADD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3788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- Sto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35" y="1292716"/>
            <a:ext cx="8028707" cy="4830743"/>
          </a:xfrm>
        </p:spPr>
        <p:txBody>
          <a:bodyPr/>
          <a:lstStyle>
            <a:lvl1pPr>
              <a:lnSpc>
                <a:spcPct val="120000"/>
              </a:lnSpc>
              <a:defRPr sz="2100">
                <a:solidFill>
                  <a:srgbClr val="674F44"/>
                </a:solidFill>
              </a:defRPr>
            </a:lvl1pPr>
            <a:lvl2pPr>
              <a:lnSpc>
                <a:spcPct val="125000"/>
              </a:lnSpc>
              <a:defRPr b="0">
                <a:solidFill>
                  <a:srgbClr val="FF6E00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latin typeface="+mn-lt"/>
              </a:defRPr>
            </a:lvl3pPr>
            <a:lvl4pPr>
              <a:lnSpc>
                <a:spcPct val="125000"/>
              </a:lnSpc>
              <a:defRPr>
                <a:latin typeface="+mn-lt"/>
              </a:defRPr>
            </a:lvl4pPr>
            <a:lvl5pPr>
              <a:lnSpc>
                <a:spcPct val="125000"/>
              </a:lnSpc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D2827-BD01-41FA-BABE-ED22F1D3B0EC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753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r -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08" y="1425628"/>
            <a:ext cx="2574728" cy="129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21031-1997-414A-8B29-3B6479B11D44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51908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3286140" y="1425628"/>
            <a:ext cx="2574728" cy="129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3286140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017827" y="1425628"/>
            <a:ext cx="2574728" cy="1296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17827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 rtl="0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3343226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 -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78" y="1425628"/>
            <a:ext cx="3911460" cy="47016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62591-5459-4F1E-9FFE-F0361A4733A6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4653420" y="1454858"/>
            <a:ext cx="3936777" cy="4613005"/>
          </a:xfrm>
          <a:solidFill>
            <a:srgbClr val="D7D1C9"/>
          </a:solidFill>
        </p:spPr>
        <p:txBody>
          <a:bodyPr tIns="1768843"/>
          <a:lstStyle>
            <a:lvl1pPr algn="ctr" rtl="0">
              <a:defRPr baseline="0"/>
            </a:lvl1pPr>
          </a:lstStyle>
          <a:p>
            <a:r>
              <a:rPr lang="nb-NO" dirty="0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3305816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174" y="405357"/>
            <a:ext cx="8028707" cy="44167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ADD112-92A6-4BEE-A681-8DF64413A926}" type="datetime1">
              <a:rPr lang="nb-NO" smtClean="0"/>
              <a:pPr/>
              <a:t>14.02.2017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51914" y="873593"/>
            <a:ext cx="8027988" cy="5256092"/>
          </a:xfrm>
          <a:solidFill>
            <a:srgbClr val="D7D1C9"/>
          </a:solidFill>
        </p:spPr>
        <p:txBody>
          <a:bodyPr tIns="2147879"/>
          <a:lstStyle>
            <a:lvl1pPr algn="ctr">
              <a:defRPr/>
            </a:lvl1pPr>
          </a:lstStyle>
          <a:p>
            <a:r>
              <a:rPr lang="nb-NO" dirty="0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138821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20037815"/>
              </p:ext>
            </p:extLst>
          </p:nvPr>
        </p:nvGraphicFramePr>
        <p:xfrm>
          <a:off x="1731" y="18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31" y="18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2174" y="405356"/>
            <a:ext cx="8028707" cy="7583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935" y="1476666"/>
            <a:ext cx="8028707" cy="46486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0845" y="6553542"/>
            <a:ext cx="754316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fld id="{0A11B9BC-EF55-4DB9-A81F-922E42982A4E}" type="datetime1">
              <a:rPr lang="nb-NO" smtClean="0"/>
              <a:pPr/>
              <a:t>14.02.2017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760" y="6341747"/>
            <a:ext cx="5168022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2019" y="6341747"/>
            <a:ext cx="324207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ITH" hidden="1"/>
          <p:cNvSpPr/>
          <p:nvPr/>
        </p:nvSpPr>
        <p:spPr>
          <a:xfrm>
            <a:off x="31" y="1"/>
            <a:ext cx="557035" cy="379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175" tIns="32095" rIns="64175" bIns="32095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86" y="6268275"/>
            <a:ext cx="1836424" cy="59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1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hf sldNum="0" hdr="0" ftr="0" dt="0"/>
  <p:txStyles>
    <p:titleStyle>
      <a:lvl1pPr algn="l" defTabSz="912809" rtl="0" eaLnBrk="1" latinLnBrk="0" hangingPunct="1">
        <a:lnSpc>
          <a:spcPct val="110000"/>
        </a:lnSpc>
        <a:spcBef>
          <a:spcPct val="0"/>
        </a:spcBef>
        <a:buNone/>
        <a:defRPr sz="2100" b="0" kern="1200">
          <a:solidFill>
            <a:srgbClr val="615046"/>
          </a:solidFill>
          <a:latin typeface="+mj-lt"/>
          <a:ea typeface="+mj-ea"/>
          <a:cs typeface="+mj-cs"/>
        </a:defRPr>
      </a:lvl1pPr>
    </p:titleStyle>
    <p:bodyStyle>
      <a:lvl1pPr marL="0" indent="0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​"/>
        <a:defRPr sz="1700" b="0" kern="1200">
          <a:solidFill>
            <a:srgbClr val="FF6E00"/>
          </a:solidFill>
          <a:latin typeface="+mj-lt"/>
          <a:ea typeface="+mn-ea"/>
          <a:cs typeface="+mn-cs"/>
        </a:defRPr>
      </a:lvl1pPr>
      <a:lvl2pPr marL="0" indent="0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rgbClr val="615046"/>
          </a:solidFill>
          <a:latin typeface="+mn-lt"/>
          <a:ea typeface="+mn-ea"/>
          <a:cs typeface="+mn-cs"/>
        </a:defRPr>
      </a:lvl2pPr>
      <a:lvl3pPr marL="202158" indent="-202158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3pPr>
      <a:lvl4pPr marL="473568" indent="-218401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4pPr>
      <a:lvl5pPr marL="722060" indent="-218401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5pPr>
      <a:lvl6pPr marL="2510251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668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075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483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2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09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32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46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45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6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74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28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771990" y="439953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799611" y="3687784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872" y="369165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13756" y="117426"/>
            <a:ext cx="8028707" cy="758324"/>
          </a:xfrm>
        </p:spPr>
        <p:txBody>
          <a:bodyPr anchor="ctr"/>
          <a:lstStyle/>
          <a:p>
            <a:r>
              <a:rPr lang="nb-NO" sz="3200" b="1" dirty="0"/>
              <a:t>PDSA-sirkel/småskalatest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468337" y="981522"/>
            <a:ext cx="6264697" cy="50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b="1" dirty="0">
                <a:solidFill>
                  <a:schemeClr val="tx1"/>
                </a:solidFill>
              </a:rPr>
              <a:t>Tiltak / endring </a:t>
            </a:r>
          </a:p>
          <a:p>
            <a:r>
              <a:rPr lang="nb-NO" sz="800" dirty="0">
                <a:solidFill>
                  <a:schemeClr val="tx1"/>
                </a:solidFill>
              </a:rPr>
              <a:t>Hvilken tiltak/endring ønsker vi å teste? (spørsmål </a:t>
            </a:r>
            <a:r>
              <a:rPr lang="nb-NO" sz="800" dirty="0" err="1">
                <a:solidFill>
                  <a:schemeClr val="tx1"/>
                </a:solidFill>
              </a:rPr>
              <a:t>nr</a:t>
            </a:r>
            <a:r>
              <a:rPr lang="nb-NO" sz="800" dirty="0">
                <a:solidFill>
                  <a:schemeClr val="tx1"/>
                </a:solidFill>
              </a:rPr>
              <a:t> 3 i forbedringsmodellen)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468337" y="1593590"/>
            <a:ext cx="6264697" cy="50405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b="1" dirty="0">
                <a:solidFill>
                  <a:schemeClr val="tx1"/>
                </a:solidFill>
              </a:rPr>
              <a:t>Arbeidshypotese (Hvis A, så B)</a:t>
            </a:r>
          </a:p>
          <a:p>
            <a:r>
              <a:rPr lang="nb-NO" sz="800" dirty="0">
                <a:solidFill>
                  <a:schemeClr val="tx1"/>
                </a:solidFill>
              </a:rPr>
              <a:t>Hvilket svar forventer vi?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6949058" y="981522"/>
            <a:ext cx="1656182" cy="111612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dirty="0">
                <a:solidFill>
                  <a:schemeClr val="tx1"/>
                </a:solidFill>
              </a:rPr>
              <a:t>Test nummer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68337" y="2254674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586770" y="2254674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68337" y="4310412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4573588" y="2409049"/>
            <a:ext cx="1993182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Planlegg både testen            og innsamling av </a:t>
            </a:r>
          </a:p>
          <a:p>
            <a:r>
              <a:rPr lang="nb-NO" sz="900" b="1" dirty="0"/>
              <a:t>informasj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a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em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or 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Nå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ordan?</a:t>
            </a:r>
          </a:p>
        </p:txBody>
      </p:sp>
      <p:sp>
        <p:nvSpPr>
          <p:cNvPr id="13" name="Rektangel 12"/>
          <p:cNvSpPr/>
          <p:nvPr/>
        </p:nvSpPr>
        <p:spPr>
          <a:xfrm>
            <a:off x="468336" y="2409049"/>
            <a:ext cx="1829688" cy="1585049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r>
              <a:rPr lang="nb-NO" sz="900" b="1" dirty="0"/>
              <a:t>Neste skritt besluttes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esten er vellykket: Test hypotesen på </a:t>
            </a:r>
            <a:r>
              <a:rPr lang="nb-NO" sz="800"/>
              <a:t>flere   og/eller </a:t>
            </a:r>
            <a:r>
              <a:rPr lang="nb-NO" sz="800" dirty="0"/>
              <a:t>under andre omstendigheter eller betingelser.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esten er delvis vellykket : Endre eller juster hypotesen.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esten er ikke vellykket: Forkast hypotesen og utarbeid en ny hypotese.</a:t>
            </a:r>
          </a:p>
        </p:txBody>
      </p:sp>
      <p:sp>
        <p:nvSpPr>
          <p:cNvPr id="14" name="Rektangel 13"/>
          <p:cNvSpPr/>
          <p:nvPr/>
        </p:nvSpPr>
        <p:spPr>
          <a:xfrm>
            <a:off x="466953" y="4624844"/>
            <a:ext cx="1585561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Analyser og læ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Sammenlign resultatet av testen med arbeidshypote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Gikk det som forventet? Hva gikk  ikke som forventet? Hvorfo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a lærte du?  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678871" y="439953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4586770" y="4310412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b="1" dirty="0">
              <a:solidFill>
                <a:schemeClr val="tx1"/>
              </a:solidFill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4573588" y="4595412"/>
            <a:ext cx="187141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b-NO" sz="900" b="1" dirty="0"/>
          </a:p>
          <a:p>
            <a:endParaRPr lang="nb-NO" sz="900" b="1" dirty="0"/>
          </a:p>
          <a:p>
            <a:r>
              <a:rPr lang="nb-NO" sz="900" b="1" dirty="0"/>
              <a:t>Utfør tes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Kan det planlagte gjennomføre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Beskriv hva som faktisk skjedde under  testen, og eventuelle uforutsette problemer og hendelser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Noter eventuelle resultater    eller data som er samlet inn i forbindelse med testen 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5060455" y="3668990"/>
            <a:ext cx="48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P</a:t>
            </a:r>
          </a:p>
        </p:txBody>
      </p:sp>
      <p:sp>
        <p:nvSpPr>
          <p:cNvPr id="22" name="TekstSylinder 21"/>
          <p:cNvSpPr txBox="1"/>
          <p:nvPr/>
        </p:nvSpPr>
        <p:spPr>
          <a:xfrm>
            <a:off x="5060455" y="4376870"/>
            <a:ext cx="48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D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3386862" y="4376870"/>
            <a:ext cx="585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S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3391028" y="3665118"/>
            <a:ext cx="585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A</a:t>
            </a:r>
          </a:p>
        </p:txBody>
      </p:sp>
      <p:cxnSp>
        <p:nvCxnSpPr>
          <p:cNvPr id="25" name="Rett linje 24"/>
          <p:cNvCxnSpPr/>
          <p:nvPr/>
        </p:nvCxnSpPr>
        <p:spPr>
          <a:xfrm>
            <a:off x="2298024" y="2254674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Rett linje 26"/>
          <p:cNvCxnSpPr/>
          <p:nvPr/>
        </p:nvCxnSpPr>
        <p:spPr>
          <a:xfrm>
            <a:off x="6445002" y="2254674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Rett linje 27"/>
          <p:cNvCxnSpPr/>
          <p:nvPr/>
        </p:nvCxnSpPr>
        <p:spPr>
          <a:xfrm>
            <a:off x="6445002" y="4310412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Rett linje 28"/>
          <p:cNvCxnSpPr/>
          <p:nvPr/>
        </p:nvCxnSpPr>
        <p:spPr>
          <a:xfrm>
            <a:off x="2298024" y="4310412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97991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Office Theme">
  <a:themeElements>
    <a:clrScheme name="ITH">
      <a:dk1>
        <a:sysClr val="windowText" lastClr="000000"/>
      </a:dk1>
      <a:lt1>
        <a:sysClr val="window" lastClr="FFFFFF"/>
      </a:lt1>
      <a:dk2>
        <a:srgbClr val="FF6E00"/>
      </a:dk2>
      <a:lt2>
        <a:srgbClr val="F9F9F5"/>
      </a:lt2>
      <a:accent1>
        <a:srgbClr val="FF6E00"/>
      </a:accent1>
      <a:accent2>
        <a:srgbClr val="615046"/>
      </a:accent2>
      <a:accent3>
        <a:srgbClr val="857971"/>
      </a:accent3>
      <a:accent4>
        <a:srgbClr val="B0A69D"/>
      </a:accent4>
      <a:accent5>
        <a:srgbClr val="D7D1C9"/>
      </a:accent5>
      <a:accent6>
        <a:srgbClr val="F9F9F5"/>
      </a:accent6>
      <a:hlink>
        <a:srgbClr val="0000FF"/>
      </a:hlink>
      <a:folHlink>
        <a:srgbClr val="800080"/>
      </a:folHlink>
    </a:clrScheme>
    <a:fontScheme name="ITH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TH_PPT_26-02-14</Template>
  <TotalTime>2</TotalTime>
  <Words>156</Words>
  <Application>Microsoft Office PowerPoint</Application>
  <PresentationFormat>Egendefinert</PresentationFormat>
  <Paragraphs>32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6_Office Theme</vt:lpstr>
      <vt:lpstr>think-cell Slide</vt:lpstr>
      <vt:lpstr>PDSA-sirkel/småskalatest</vt:lpstr>
    </vt:vector>
  </TitlesOfParts>
  <Company>Kunnskapssenter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na Fredheim</dc:creator>
  <dc:description>Template by addpoint.no</dc:description>
  <cp:lastModifiedBy>Tone Vonheim Madsen</cp:lastModifiedBy>
  <cp:revision>52</cp:revision>
  <cp:lastPrinted>2016-02-04T08:48:22Z</cp:lastPrinted>
  <dcterms:created xsi:type="dcterms:W3CDTF">2014-03-04T14:10:05Z</dcterms:created>
  <dcterms:modified xsi:type="dcterms:W3CDTF">2017-02-14T13:5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</Properties>
</file>